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0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934A0-E945-6556-0681-CF9A69A99E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E850B7B-5145-498B-7423-3134F2D5E2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850B7B-5145-498B-7423-3134F2D5E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A7EDDA-AC6B-928A-5A22-0F4A79609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C527BFD-7B53-D537-370F-47DC7EE93333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0" name="กลุ่ม 25">
            <a:extLst>
              <a:ext uri="{FF2B5EF4-FFF2-40B4-BE49-F238E27FC236}">
                <a16:creationId xmlns:a16="http://schemas.microsoft.com/office/drawing/2014/main" id="{DD571494-BCFD-96BF-5DC7-02EF72F1C7A4}"/>
              </a:ext>
            </a:extLst>
          </p:cNvPr>
          <p:cNvGrpSpPr/>
          <p:nvPr/>
        </p:nvGrpSpPr>
        <p:grpSpPr>
          <a:xfrm>
            <a:off x="3158156" y="1093894"/>
            <a:ext cx="5474658" cy="4860796"/>
            <a:chOff x="3814763" y="3810000"/>
            <a:chExt cx="9018587" cy="8007351"/>
          </a:xfrm>
        </p:grpSpPr>
        <p:sp>
          <p:nvSpPr>
            <p:cNvPr id="110" name="Oval 6">
              <a:extLst>
                <a:ext uri="{FF2B5EF4-FFF2-40B4-BE49-F238E27FC236}">
                  <a16:creationId xmlns:a16="http://schemas.microsoft.com/office/drawing/2014/main" id="{D9377C49-040E-2517-42D3-8BFAD4D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4763" y="3810000"/>
              <a:ext cx="9018587" cy="86042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1" name="Freeform 7">
              <a:extLst>
                <a:ext uri="{FF2B5EF4-FFF2-40B4-BE49-F238E27FC236}">
                  <a16:creationId xmlns:a16="http://schemas.microsoft.com/office/drawing/2014/main" id="{5CAFB536-D469-8289-81E0-01A0AFE56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6813" y="7720013"/>
              <a:ext cx="4154487" cy="1646238"/>
            </a:xfrm>
            <a:custGeom>
              <a:avLst/>
              <a:gdLst>
                <a:gd name="T0" fmla="*/ 189 w 222"/>
                <a:gd name="T1" fmla="*/ 87 h 88"/>
                <a:gd name="T2" fmla="*/ 222 w 222"/>
                <a:gd name="T3" fmla="*/ 1 h 88"/>
                <a:gd name="T4" fmla="*/ 120 w 222"/>
                <a:gd name="T5" fmla="*/ 3 h 88"/>
                <a:gd name="T6" fmla="*/ 0 w 222"/>
                <a:gd name="T7" fmla="*/ 0 h 88"/>
                <a:gd name="T8" fmla="*/ 33 w 222"/>
                <a:gd name="T9" fmla="*/ 86 h 88"/>
                <a:gd name="T10" fmla="*/ 121 w 222"/>
                <a:gd name="T11" fmla="*/ 88 h 88"/>
                <a:gd name="T12" fmla="*/ 189 w 222"/>
                <a:gd name="T13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2" h="88">
                  <a:moveTo>
                    <a:pt x="189" y="87"/>
                  </a:moveTo>
                  <a:cubicBezTo>
                    <a:pt x="197" y="56"/>
                    <a:pt x="208" y="27"/>
                    <a:pt x="222" y="1"/>
                  </a:cubicBezTo>
                  <a:cubicBezTo>
                    <a:pt x="189" y="2"/>
                    <a:pt x="155" y="3"/>
                    <a:pt x="120" y="3"/>
                  </a:cubicBezTo>
                  <a:cubicBezTo>
                    <a:pt x="79" y="3"/>
                    <a:pt x="39" y="2"/>
                    <a:pt x="0" y="0"/>
                  </a:cubicBezTo>
                  <a:cubicBezTo>
                    <a:pt x="14" y="26"/>
                    <a:pt x="25" y="55"/>
                    <a:pt x="33" y="86"/>
                  </a:cubicBezTo>
                  <a:cubicBezTo>
                    <a:pt x="62" y="87"/>
                    <a:pt x="91" y="88"/>
                    <a:pt x="121" y="88"/>
                  </a:cubicBezTo>
                  <a:cubicBezTo>
                    <a:pt x="144" y="88"/>
                    <a:pt x="166" y="87"/>
                    <a:pt x="189" y="8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2" name="Freeform 8">
              <a:extLst>
                <a:ext uri="{FF2B5EF4-FFF2-40B4-BE49-F238E27FC236}">
                  <a16:creationId xmlns:a16="http://schemas.microsoft.com/office/drawing/2014/main" id="{DB41F66D-796B-E6B6-FC9D-EA708BDF8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4350" y="9329738"/>
              <a:ext cx="2919412" cy="2487613"/>
            </a:xfrm>
            <a:custGeom>
              <a:avLst/>
              <a:gdLst>
                <a:gd name="T0" fmla="*/ 156 w 156"/>
                <a:gd name="T1" fmla="*/ 1 h 133"/>
                <a:gd name="T2" fmla="*/ 88 w 156"/>
                <a:gd name="T3" fmla="*/ 2 h 133"/>
                <a:gd name="T4" fmla="*/ 0 w 156"/>
                <a:gd name="T5" fmla="*/ 0 h 133"/>
                <a:gd name="T6" fmla="*/ 18 w 156"/>
                <a:gd name="T7" fmla="*/ 124 h 133"/>
                <a:gd name="T8" fmla="*/ 18 w 156"/>
                <a:gd name="T9" fmla="*/ 125 h 133"/>
                <a:gd name="T10" fmla="*/ 78 w 156"/>
                <a:gd name="T11" fmla="*/ 133 h 133"/>
                <a:gd name="T12" fmla="*/ 138 w 156"/>
                <a:gd name="T13" fmla="*/ 125 h 133"/>
                <a:gd name="T14" fmla="*/ 138 w 156"/>
                <a:gd name="T15" fmla="*/ 125 h 133"/>
                <a:gd name="T16" fmla="*/ 138 w 156"/>
                <a:gd name="T17" fmla="*/ 125 h 133"/>
                <a:gd name="T18" fmla="*/ 156 w 156"/>
                <a:gd name="T19" fmla="*/ 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33">
                  <a:moveTo>
                    <a:pt x="156" y="1"/>
                  </a:moveTo>
                  <a:cubicBezTo>
                    <a:pt x="133" y="1"/>
                    <a:pt x="111" y="2"/>
                    <a:pt x="88" y="2"/>
                  </a:cubicBezTo>
                  <a:cubicBezTo>
                    <a:pt x="58" y="2"/>
                    <a:pt x="29" y="1"/>
                    <a:pt x="0" y="0"/>
                  </a:cubicBezTo>
                  <a:cubicBezTo>
                    <a:pt x="11" y="39"/>
                    <a:pt x="17" y="81"/>
                    <a:pt x="18" y="124"/>
                  </a:cubicBezTo>
                  <a:cubicBezTo>
                    <a:pt x="18" y="124"/>
                    <a:pt x="18" y="125"/>
                    <a:pt x="18" y="125"/>
                  </a:cubicBezTo>
                  <a:cubicBezTo>
                    <a:pt x="18" y="130"/>
                    <a:pt x="45" y="133"/>
                    <a:pt x="78" y="133"/>
                  </a:cubicBezTo>
                  <a:cubicBezTo>
                    <a:pt x="111" y="133"/>
                    <a:pt x="138" y="130"/>
                    <a:pt x="138" y="125"/>
                  </a:cubicBezTo>
                  <a:cubicBezTo>
                    <a:pt x="138" y="125"/>
                    <a:pt x="138" y="125"/>
                    <a:pt x="138" y="125"/>
                  </a:cubicBezTo>
                  <a:cubicBezTo>
                    <a:pt x="138" y="125"/>
                    <a:pt x="138" y="125"/>
                    <a:pt x="138" y="125"/>
                  </a:cubicBezTo>
                  <a:cubicBezTo>
                    <a:pt x="139" y="81"/>
                    <a:pt x="145" y="39"/>
                    <a:pt x="15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3" name="Freeform 9">
              <a:extLst>
                <a:ext uri="{FF2B5EF4-FFF2-40B4-BE49-F238E27FC236}">
                  <a16:creationId xmlns:a16="http://schemas.microsoft.com/office/drawing/2014/main" id="{C8AF9FFA-77F6-052A-7461-630835DE2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5400" y="6092825"/>
              <a:ext cx="6418262" cy="1684338"/>
            </a:xfrm>
            <a:custGeom>
              <a:avLst/>
              <a:gdLst>
                <a:gd name="T0" fmla="*/ 182 w 343"/>
                <a:gd name="T1" fmla="*/ 8 h 90"/>
                <a:gd name="T2" fmla="*/ 31 w 343"/>
                <a:gd name="T3" fmla="*/ 3 h 90"/>
                <a:gd name="T4" fmla="*/ 0 w 343"/>
                <a:gd name="T5" fmla="*/ 0 h 90"/>
                <a:gd name="T6" fmla="*/ 61 w 343"/>
                <a:gd name="T7" fmla="*/ 86 h 90"/>
                <a:gd name="T8" fmla="*/ 181 w 343"/>
                <a:gd name="T9" fmla="*/ 90 h 90"/>
                <a:gd name="T10" fmla="*/ 283 w 343"/>
                <a:gd name="T11" fmla="*/ 87 h 90"/>
                <a:gd name="T12" fmla="*/ 343 w 343"/>
                <a:gd name="T13" fmla="*/ 2 h 90"/>
                <a:gd name="T14" fmla="*/ 334 w 343"/>
                <a:gd name="T15" fmla="*/ 3 h 90"/>
                <a:gd name="T16" fmla="*/ 182 w 343"/>
                <a:gd name="T17" fmla="*/ 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0">
                  <a:moveTo>
                    <a:pt x="182" y="8"/>
                  </a:moveTo>
                  <a:cubicBezTo>
                    <a:pt x="130" y="8"/>
                    <a:pt x="79" y="6"/>
                    <a:pt x="31" y="3"/>
                  </a:cubicBezTo>
                  <a:cubicBezTo>
                    <a:pt x="20" y="2"/>
                    <a:pt x="10" y="1"/>
                    <a:pt x="0" y="0"/>
                  </a:cubicBezTo>
                  <a:cubicBezTo>
                    <a:pt x="24" y="24"/>
                    <a:pt x="44" y="53"/>
                    <a:pt x="61" y="86"/>
                  </a:cubicBezTo>
                  <a:cubicBezTo>
                    <a:pt x="100" y="89"/>
                    <a:pt x="140" y="90"/>
                    <a:pt x="181" y="90"/>
                  </a:cubicBezTo>
                  <a:cubicBezTo>
                    <a:pt x="216" y="90"/>
                    <a:pt x="250" y="89"/>
                    <a:pt x="283" y="87"/>
                  </a:cubicBezTo>
                  <a:cubicBezTo>
                    <a:pt x="299" y="54"/>
                    <a:pt x="320" y="25"/>
                    <a:pt x="343" y="2"/>
                  </a:cubicBezTo>
                  <a:cubicBezTo>
                    <a:pt x="340" y="2"/>
                    <a:pt x="337" y="2"/>
                    <a:pt x="334" y="3"/>
                  </a:cubicBezTo>
                  <a:cubicBezTo>
                    <a:pt x="286" y="6"/>
                    <a:pt x="235" y="8"/>
                    <a:pt x="182" y="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14" name="Freeform 10">
              <a:extLst>
                <a:ext uri="{FF2B5EF4-FFF2-40B4-BE49-F238E27FC236}">
                  <a16:creationId xmlns:a16="http://schemas.microsoft.com/office/drawing/2014/main" id="{B090B89C-C28C-97CF-11F6-220D34610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763" y="4352925"/>
              <a:ext cx="9018587" cy="1889125"/>
            </a:xfrm>
            <a:custGeom>
              <a:avLst/>
              <a:gdLst>
                <a:gd name="T0" fmla="*/ 100 w 482"/>
                <a:gd name="T1" fmla="*/ 96 h 101"/>
                <a:gd name="T2" fmla="*/ 251 w 482"/>
                <a:gd name="T3" fmla="*/ 101 h 101"/>
                <a:gd name="T4" fmla="*/ 403 w 482"/>
                <a:gd name="T5" fmla="*/ 96 h 101"/>
                <a:gd name="T6" fmla="*/ 412 w 482"/>
                <a:gd name="T7" fmla="*/ 95 h 101"/>
                <a:gd name="T8" fmla="*/ 482 w 482"/>
                <a:gd name="T9" fmla="*/ 45 h 101"/>
                <a:gd name="T10" fmla="*/ 482 w 482"/>
                <a:gd name="T11" fmla="*/ 1 h 101"/>
                <a:gd name="T12" fmla="*/ 480 w 482"/>
                <a:gd name="T13" fmla="*/ 1 h 101"/>
                <a:gd name="T14" fmla="*/ 241 w 482"/>
                <a:gd name="T15" fmla="*/ 20 h 101"/>
                <a:gd name="T16" fmla="*/ 1 w 482"/>
                <a:gd name="T17" fmla="*/ 0 h 101"/>
                <a:gd name="T18" fmla="*/ 0 w 482"/>
                <a:gd name="T19" fmla="*/ 0 h 101"/>
                <a:gd name="T20" fmla="*/ 0 w 482"/>
                <a:gd name="T21" fmla="*/ 44 h 101"/>
                <a:gd name="T22" fmla="*/ 69 w 482"/>
                <a:gd name="T23" fmla="*/ 93 h 101"/>
                <a:gd name="T24" fmla="*/ 100 w 482"/>
                <a:gd name="T25" fmla="*/ 9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101">
                  <a:moveTo>
                    <a:pt x="100" y="96"/>
                  </a:moveTo>
                  <a:cubicBezTo>
                    <a:pt x="148" y="99"/>
                    <a:pt x="199" y="101"/>
                    <a:pt x="251" y="101"/>
                  </a:cubicBezTo>
                  <a:cubicBezTo>
                    <a:pt x="304" y="101"/>
                    <a:pt x="355" y="99"/>
                    <a:pt x="403" y="96"/>
                  </a:cubicBezTo>
                  <a:cubicBezTo>
                    <a:pt x="406" y="95"/>
                    <a:pt x="409" y="95"/>
                    <a:pt x="412" y="95"/>
                  </a:cubicBezTo>
                  <a:cubicBezTo>
                    <a:pt x="433" y="73"/>
                    <a:pt x="457" y="57"/>
                    <a:pt x="482" y="45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0" y="1"/>
                    <a:pt x="480" y="1"/>
                    <a:pt x="480" y="1"/>
                  </a:cubicBezTo>
                  <a:cubicBezTo>
                    <a:pt x="465" y="12"/>
                    <a:pt x="364" y="20"/>
                    <a:pt x="241" y="20"/>
                  </a:cubicBezTo>
                  <a:cubicBezTo>
                    <a:pt x="115" y="20"/>
                    <a:pt x="12" y="1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25" y="55"/>
                    <a:pt x="48" y="72"/>
                    <a:pt x="69" y="93"/>
                  </a:cubicBezTo>
                  <a:cubicBezTo>
                    <a:pt x="79" y="94"/>
                    <a:pt x="89" y="95"/>
                    <a:pt x="100" y="9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</p:grpSp>
      <p:cxnSp>
        <p:nvCxnSpPr>
          <p:cNvPr id="11" name="Line">
            <a:extLst>
              <a:ext uri="{FF2B5EF4-FFF2-40B4-BE49-F238E27FC236}">
                <a16:creationId xmlns:a16="http://schemas.microsoft.com/office/drawing/2014/main" id="{5B034149-7154-9453-2D53-08D6D9946E00}"/>
              </a:ext>
            </a:extLst>
          </p:cNvPr>
          <p:cNvCxnSpPr/>
          <p:nvPr/>
        </p:nvCxnSpPr>
        <p:spPr>
          <a:xfrm flipH="1">
            <a:off x="6364456" y="2089363"/>
            <a:ext cx="3510297" cy="23138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Line">
            <a:extLst>
              <a:ext uri="{FF2B5EF4-FFF2-40B4-BE49-F238E27FC236}">
                <a16:creationId xmlns:a16="http://schemas.microsoft.com/office/drawing/2014/main" id="{A720D8EE-A0E5-FF10-0C6C-6965BAD8875D}"/>
              </a:ext>
            </a:extLst>
          </p:cNvPr>
          <p:cNvCxnSpPr/>
          <p:nvPr/>
        </p:nvCxnSpPr>
        <p:spPr>
          <a:xfrm flipH="1">
            <a:off x="6364456" y="3986852"/>
            <a:ext cx="3510297" cy="23138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Line">
            <a:extLst>
              <a:ext uri="{FF2B5EF4-FFF2-40B4-BE49-F238E27FC236}">
                <a16:creationId xmlns:a16="http://schemas.microsoft.com/office/drawing/2014/main" id="{9E9586D0-AC63-8349-91F1-1C72EB6C44E9}"/>
              </a:ext>
            </a:extLst>
          </p:cNvPr>
          <p:cNvCxnSpPr/>
          <p:nvPr/>
        </p:nvCxnSpPr>
        <p:spPr>
          <a:xfrm flipH="1">
            <a:off x="1989564" y="3039955"/>
            <a:ext cx="3510297" cy="23138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Line">
            <a:extLst>
              <a:ext uri="{FF2B5EF4-FFF2-40B4-BE49-F238E27FC236}">
                <a16:creationId xmlns:a16="http://schemas.microsoft.com/office/drawing/2014/main" id="{2AAB5BCF-0919-04C3-6AEF-08F0D718B904}"/>
              </a:ext>
            </a:extLst>
          </p:cNvPr>
          <p:cNvCxnSpPr/>
          <p:nvPr/>
        </p:nvCxnSpPr>
        <p:spPr>
          <a:xfrm flipH="1">
            <a:off x="1989564" y="5175027"/>
            <a:ext cx="3510297" cy="23138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Inhaltsplatzhalter 4">
            <a:extLst>
              <a:ext uri="{FF2B5EF4-FFF2-40B4-BE49-F238E27FC236}">
                <a16:creationId xmlns:a16="http://schemas.microsoft.com/office/drawing/2014/main" id="{66E21347-F587-D717-80EE-D1DBB3BA58E8}"/>
              </a:ext>
            </a:extLst>
          </p:cNvPr>
          <p:cNvSpPr txBox="1">
            <a:spLocks/>
          </p:cNvSpPr>
          <p:nvPr/>
        </p:nvSpPr>
        <p:spPr>
          <a:xfrm>
            <a:off x="805314" y="3247268"/>
            <a:ext cx="2789871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2" name="Inhaltsplatzhalter 4">
            <a:extLst>
              <a:ext uri="{FF2B5EF4-FFF2-40B4-BE49-F238E27FC236}">
                <a16:creationId xmlns:a16="http://schemas.microsoft.com/office/drawing/2014/main" id="{3A8482F9-6D9F-F6E1-B1DF-E413FF4FA50F}"/>
              </a:ext>
            </a:extLst>
          </p:cNvPr>
          <p:cNvSpPr txBox="1">
            <a:spLocks/>
          </p:cNvSpPr>
          <p:nvPr/>
        </p:nvSpPr>
        <p:spPr>
          <a:xfrm flipH="1">
            <a:off x="8397660" y="2288683"/>
            <a:ext cx="2989027" cy="7540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5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3" name="Inhaltsplatzhalter 4">
            <a:extLst>
              <a:ext uri="{FF2B5EF4-FFF2-40B4-BE49-F238E27FC236}">
                <a16:creationId xmlns:a16="http://schemas.microsoft.com/office/drawing/2014/main" id="{621D0AE3-8D9A-296E-6B7A-A392894621AA}"/>
              </a:ext>
            </a:extLst>
          </p:cNvPr>
          <p:cNvSpPr txBox="1">
            <a:spLocks/>
          </p:cNvSpPr>
          <p:nvPr/>
        </p:nvSpPr>
        <p:spPr>
          <a:xfrm flipH="1">
            <a:off x="1456943" y="5492299"/>
            <a:ext cx="3177569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rgbClr val="81A4CC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rgbClr val="81A4CC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4" name="Inhaltsplatzhalter 4">
            <a:extLst>
              <a:ext uri="{FF2B5EF4-FFF2-40B4-BE49-F238E27FC236}">
                <a16:creationId xmlns:a16="http://schemas.microsoft.com/office/drawing/2014/main" id="{B54C5739-259D-9BCF-4C7C-F777CEA4DCE9}"/>
              </a:ext>
            </a:extLst>
          </p:cNvPr>
          <p:cNvSpPr txBox="1">
            <a:spLocks/>
          </p:cNvSpPr>
          <p:nvPr/>
        </p:nvSpPr>
        <p:spPr>
          <a:xfrm>
            <a:off x="7156459" y="4272278"/>
            <a:ext cx="3573342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92D7634A-2E46-226D-9C2D-9BD9DF14D466}"/>
              </a:ext>
            </a:extLst>
          </p:cNvPr>
          <p:cNvGrpSpPr/>
          <p:nvPr/>
        </p:nvGrpSpPr>
        <p:grpSpPr>
          <a:xfrm>
            <a:off x="5666257" y="5084800"/>
            <a:ext cx="511459" cy="344904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07" name="Freeform 17">
              <a:extLst>
                <a:ext uri="{FF2B5EF4-FFF2-40B4-BE49-F238E27FC236}">
                  <a16:creationId xmlns:a16="http://schemas.microsoft.com/office/drawing/2014/main" id="{F2061F90-FC98-DA9B-AA95-0F537C469451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18">
              <a:extLst>
                <a:ext uri="{FF2B5EF4-FFF2-40B4-BE49-F238E27FC236}">
                  <a16:creationId xmlns:a16="http://schemas.microsoft.com/office/drawing/2014/main" id="{CA999C8A-9033-DA16-B721-7D2B74F9C87E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19">
              <a:extLst>
                <a:ext uri="{FF2B5EF4-FFF2-40B4-BE49-F238E27FC236}">
                  <a16:creationId xmlns:a16="http://schemas.microsoft.com/office/drawing/2014/main" id="{B478EA33-4850-18B4-B96D-38388504E5EB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52F3A272-F7D3-33AB-D66E-F7B0C3F756D1}"/>
              </a:ext>
            </a:extLst>
          </p:cNvPr>
          <p:cNvGrpSpPr>
            <a:grpSpLocks noChangeAspect="1"/>
          </p:cNvGrpSpPr>
          <p:nvPr/>
        </p:nvGrpSpPr>
        <p:grpSpPr>
          <a:xfrm>
            <a:off x="5753665" y="3716167"/>
            <a:ext cx="336646" cy="537268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5E670825-F8A5-E216-5C21-947F6FE751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B9FF8E04-0BA6-5D82-0D1B-7D16CDBE2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sp>
        <p:nvSpPr>
          <p:cNvPr id="97" name="Freeform 23">
            <a:extLst>
              <a:ext uri="{FF2B5EF4-FFF2-40B4-BE49-F238E27FC236}">
                <a16:creationId xmlns:a16="http://schemas.microsoft.com/office/drawing/2014/main" id="{841D62E8-CAEC-9F9B-013F-3A8E970581A6}"/>
              </a:ext>
            </a:extLst>
          </p:cNvPr>
          <p:cNvSpPr>
            <a:spLocks noEditPoints="1"/>
          </p:cNvSpPr>
          <p:nvPr/>
        </p:nvSpPr>
        <p:spPr bwMode="auto">
          <a:xfrm>
            <a:off x="5694940" y="2757947"/>
            <a:ext cx="454094" cy="402143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50E7E2B2-205F-2A7B-44AF-E10602711ED0}"/>
              </a:ext>
            </a:extLst>
          </p:cNvPr>
          <p:cNvGrpSpPr>
            <a:grpSpLocks noChangeAspect="1"/>
          </p:cNvGrpSpPr>
          <p:nvPr/>
        </p:nvGrpSpPr>
        <p:grpSpPr>
          <a:xfrm>
            <a:off x="5712331" y="1889802"/>
            <a:ext cx="419310" cy="399123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99" name="Freeform 26">
              <a:extLst>
                <a:ext uri="{FF2B5EF4-FFF2-40B4-BE49-F238E27FC236}">
                  <a16:creationId xmlns:a16="http://schemas.microsoft.com/office/drawing/2014/main" id="{EF0189E6-DE6C-3558-86B4-65AC151F66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27">
              <a:extLst>
                <a:ext uri="{FF2B5EF4-FFF2-40B4-BE49-F238E27FC236}">
                  <a16:creationId xmlns:a16="http://schemas.microsoft.com/office/drawing/2014/main" id="{A40A3A07-E6DA-D44E-15A7-2F7CEC71B6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28">
              <a:extLst>
                <a:ext uri="{FF2B5EF4-FFF2-40B4-BE49-F238E27FC236}">
                  <a16:creationId xmlns:a16="http://schemas.microsoft.com/office/drawing/2014/main" id="{E7D21A17-C04A-4193-59C9-4EF1A081CD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29">
              <a:extLst>
                <a:ext uri="{FF2B5EF4-FFF2-40B4-BE49-F238E27FC236}">
                  <a16:creationId xmlns:a16="http://schemas.microsoft.com/office/drawing/2014/main" id="{77A1DE49-18F6-3FF4-0679-786354130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30">
              <a:extLst>
                <a:ext uri="{FF2B5EF4-FFF2-40B4-BE49-F238E27FC236}">
                  <a16:creationId xmlns:a16="http://schemas.microsoft.com/office/drawing/2014/main" id="{D4C52B7B-4125-1D0B-98FA-76CD4D92F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31">
              <a:extLst>
                <a:ext uri="{FF2B5EF4-FFF2-40B4-BE49-F238E27FC236}">
                  <a16:creationId xmlns:a16="http://schemas.microsoft.com/office/drawing/2014/main" id="{C284EC47-834E-042D-D417-6008A85C3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61554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3</TotalTime>
  <Words>106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Funn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89</cp:revision>
  <dcterms:created xsi:type="dcterms:W3CDTF">2021-03-31T02:49:57Z</dcterms:created>
  <dcterms:modified xsi:type="dcterms:W3CDTF">2025-10-16T10:55:12Z</dcterms:modified>
  <cp:category/>
</cp:coreProperties>
</file>